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3"/>
  </p:notesMasterIdLst>
  <p:sldIdLst>
    <p:sldId id="257" r:id="rId2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-630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F1B55D-7E08-4676-A71C-7FA3F3415AF4}" type="datetimeFigureOut">
              <a:rPr lang="en-GB" smtClean="0"/>
              <a:t>22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D31949-A483-470C-B752-2730C057069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2341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25EB2-B914-48E9-B1A5-81580E275885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79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01236" y="44624"/>
            <a:ext cx="9315468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smtClean="0">
                <a:ln>
                  <a:noFill/>
                </a:ln>
                <a:solidFill>
                  <a:srgbClr val="2260A8"/>
                </a:solidFill>
                <a:effectLst/>
                <a:uLnTx/>
                <a:uFillTx/>
                <a:latin typeface="Calibri"/>
              </a:rPr>
              <a:t>Click to edit Master title style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2260A8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9315463" cy="720080"/>
          </a:xfrm>
          <a:prstGeom prst="rect">
            <a:avLst/>
          </a:prstGeo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 b="1" i="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444D54"/>
                </a:solidFill>
                <a:effectLst/>
                <a:uLnTx/>
                <a:uFillTx/>
                <a:latin typeface="Calibri"/>
              </a:rPr>
              <a:t>Click to edit Master subtitle style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444D54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3" name="Suorakulmio 12"/>
          <p:cNvSpPr/>
          <p:nvPr/>
        </p:nvSpPr>
        <p:spPr>
          <a:xfrm>
            <a:off x="0" y="2041949"/>
            <a:ext cx="12192000" cy="127085"/>
          </a:xfrm>
          <a:prstGeom prst="rect">
            <a:avLst/>
          </a:prstGeom>
          <a:solidFill>
            <a:srgbClr val="6699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pic>
        <p:nvPicPr>
          <p:cNvPr id="2" name="Kuva 1" descr="River Rwizi -Mbarara- Uganda-007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69034"/>
            <a:ext cx="12192000" cy="468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091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488882" y="1772816"/>
            <a:ext cx="4431423" cy="3599607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778532" y="4941168"/>
            <a:ext cx="1969922" cy="1600150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609601" y="1600202"/>
            <a:ext cx="7732294" cy="49529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4968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9789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F93333DC-6877-4B6F-9E28-0EB237D0337C}" type="datetimeFigureOut">
              <a:rPr lang="en-GB" smtClean="0"/>
              <a:pPr/>
              <a:t>22/06/2017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3090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en-GB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91599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 marL="828000" indent="-280800">
              <a:buFont typeface="Arial" panose="020B0604020202020204" pitchFamily="34" charset="0"/>
              <a:buChar char="•"/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F93333DC-6877-4B6F-9E28-0EB237D0337C}" type="datetimeFigureOut">
              <a:rPr lang="en-GB" smtClean="0"/>
              <a:pPr/>
              <a:t>22/06/2017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618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31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01236" y="44624"/>
            <a:ext cx="9315468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smtClean="0">
                <a:ln>
                  <a:noFill/>
                </a:ln>
                <a:solidFill>
                  <a:srgbClr val="2260A8"/>
                </a:solidFill>
                <a:effectLst/>
                <a:uLnTx/>
                <a:uFillTx/>
                <a:latin typeface="Calibri"/>
              </a:rPr>
              <a:t>Click to edit Master title style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2260A8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9315463" cy="720080"/>
          </a:xfrm>
          <a:prstGeom prst="rect">
            <a:avLst/>
          </a:prstGeo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 b="1" i="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444D54"/>
                </a:solidFill>
                <a:effectLst/>
                <a:uLnTx/>
                <a:uFillTx/>
                <a:latin typeface="Calibri"/>
              </a:rPr>
              <a:t>Click to edit Master subtitle style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444D54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2" name="Kuva 1" descr="Capacity Development Programme- Tanzania-002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69034"/>
            <a:ext cx="12192000" cy="4688967"/>
          </a:xfrm>
          <a:prstGeom prst="rect">
            <a:avLst/>
          </a:prstGeom>
        </p:spPr>
      </p:pic>
      <p:sp>
        <p:nvSpPr>
          <p:cNvPr id="7" name="Suorakulmio 6"/>
          <p:cNvSpPr/>
          <p:nvPr/>
        </p:nvSpPr>
        <p:spPr>
          <a:xfrm>
            <a:off x="0" y="2041949"/>
            <a:ext cx="12192000" cy="127085"/>
          </a:xfrm>
          <a:prstGeom prst="rect">
            <a:avLst/>
          </a:prstGeom>
          <a:solidFill>
            <a:srgbClr val="6699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</p:spTree>
    <p:extLst>
      <p:ext uri="{BB962C8B-B14F-4D97-AF65-F5344CB8AC3E}">
        <p14:creationId xmlns:p14="http://schemas.microsoft.com/office/powerpoint/2010/main" val="1453326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209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3643" y="2700868"/>
            <a:ext cx="10580514" cy="1826581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33643" y="4527448"/>
            <a:ext cx="10580514" cy="86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8668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F4BE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21631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F4BE2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157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CC66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21631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CC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8757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99CC3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21631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99CC3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9791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43783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43783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050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887E8A-04EC-0A44-89DA-36113A2E7601}" type="slidenum">
              <a:rPr lang="de-DE" kern="0" smtClean="0"/>
              <a:pPr>
                <a:defRPr/>
              </a:pPr>
              <a:t>‹Nr.›</a:t>
            </a:fld>
            <a:endParaRPr lang="de-DE" kern="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8802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952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Muokkaa</a:t>
            </a:r>
            <a:r>
              <a:rPr lang="en-GB" noProof="0" dirty="0" smtClean="0"/>
              <a:t> </a:t>
            </a:r>
            <a:r>
              <a:rPr lang="en-GB" noProof="0" dirty="0" err="1" smtClean="0"/>
              <a:t>tekstin</a:t>
            </a:r>
            <a:r>
              <a:rPr lang="en-GB" noProof="0" dirty="0" smtClean="0"/>
              <a:t> </a:t>
            </a:r>
            <a:r>
              <a:rPr lang="en-GB" noProof="0" dirty="0" err="1" smtClean="0"/>
              <a:t>perustyylejä</a:t>
            </a:r>
            <a:r>
              <a:rPr lang="en-GB" noProof="0" dirty="0" smtClean="0"/>
              <a:t> </a:t>
            </a:r>
            <a:r>
              <a:rPr lang="en-GB" noProof="0" dirty="0" err="1" smtClean="0"/>
              <a:t>napsauttamalla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toinen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kolma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eljä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viide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/>
          </a:p>
        </p:txBody>
      </p:sp>
      <p:pic>
        <p:nvPicPr>
          <p:cNvPr id="8" name="Bild 1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261386" y="188640"/>
            <a:ext cx="1683879" cy="824400"/>
          </a:xfrm>
          <a:prstGeom prst="rect">
            <a:avLst/>
          </a:prstGeom>
        </p:spPr>
      </p:pic>
      <p:sp>
        <p:nvSpPr>
          <p:cNvPr id="11" name="Rectangle 6"/>
          <p:cNvSpPr>
            <a:spLocks noGrp="1" noChangeArrowheads="1"/>
          </p:cNvSpPr>
          <p:nvPr>
            <p:ph type="title"/>
          </p:nvPr>
        </p:nvSpPr>
        <p:spPr bwMode="gray">
          <a:xfrm>
            <a:off x="609241" y="188640"/>
            <a:ext cx="93862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7200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Edit </a:t>
            </a:r>
            <a:r>
              <a:rPr lang="en-GB" noProof="0" smtClean="0"/>
              <a:t>Mastertitle</a:t>
            </a:r>
            <a:endParaRPr lang="en-GB" noProof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92591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70" r:id="rId13"/>
    <p:sldLayoutId id="2147483671" r:id="rId14"/>
    <p:sldLayoutId id="2147483672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i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tnership reference success story</a:t>
            </a:r>
            <a:br>
              <a:rPr lang="en-GB" dirty="0" smtClean="0"/>
            </a:br>
            <a:r>
              <a:rPr lang="en-GB" dirty="0" smtClean="0"/>
              <a:t>&lt;partnership name&gt;</a:t>
            </a:r>
            <a:endParaRPr lang="en-GB" dirty="0"/>
          </a:p>
        </p:txBody>
      </p:sp>
      <p:grpSp>
        <p:nvGrpSpPr>
          <p:cNvPr id="7" name="Group 13"/>
          <p:cNvGrpSpPr>
            <a:grpSpLocks/>
          </p:cNvGrpSpPr>
          <p:nvPr/>
        </p:nvGrpSpPr>
        <p:grpSpPr bwMode="auto">
          <a:xfrm>
            <a:off x="179388" y="1684338"/>
            <a:ext cx="11417526" cy="4984750"/>
            <a:chOff x="113" y="1071"/>
            <a:chExt cx="5514" cy="3140"/>
          </a:xfrm>
        </p:grpSpPr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1429" y="1398"/>
              <a:ext cx="4173" cy="17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fi-FI" sz="1200" dirty="0" smtClean="0">
                  <a:solidFill>
                    <a:srgbClr val="FFFFFF"/>
                  </a:solidFill>
                </a:rPr>
                <a:t>Challenge</a:t>
              </a:r>
              <a:endParaRPr lang="en-GB" altLang="fi-FI" sz="1200" dirty="0">
                <a:solidFill>
                  <a:srgbClr val="FFFFFF"/>
                </a:solidFill>
              </a:endParaRPr>
            </a:p>
          </p:txBody>
        </p:sp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1474" y="1616"/>
              <a:ext cx="4128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171450" indent="-17145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en-GB" altLang="fi-FI" sz="1000" b="0" dirty="0" smtClean="0">
                  <a:solidFill>
                    <a:srgbClr val="000000"/>
                  </a:solidFill>
                  <a:ea typeface="Times New Roman" panose="02020603050405020304" pitchFamily="18" charset="0"/>
                  <a:cs typeface="Arial" panose="020B0604020202020204" pitchFamily="34" charset="0"/>
                </a:rPr>
                <a:t>What was the situation?</a:t>
              </a:r>
            </a:p>
            <a:p>
              <a:pPr marL="171450" indent="-171450">
                <a:spcBef>
                  <a:spcPct val="30000"/>
                </a:spcBef>
                <a:buFont typeface="Arial" panose="020B0604020202020204" pitchFamily="34" charset="0"/>
                <a:buChar char="•"/>
              </a:pPr>
              <a:r>
                <a:rPr lang="en-GB" altLang="fi-FI" sz="1000" b="0" dirty="0" smtClean="0">
                  <a:solidFill>
                    <a:srgbClr val="000000"/>
                  </a:solidFill>
                  <a:ea typeface="Times New Roman" panose="02020603050405020304" pitchFamily="18" charset="0"/>
                  <a:cs typeface="Arial" panose="020B0604020202020204" pitchFamily="34" charset="0"/>
                </a:rPr>
                <a:t>What was the water-related threat or risk? </a:t>
              </a:r>
              <a:endParaRPr lang="en-GB" altLang="fi-FI" sz="1000" b="0" dirty="0">
                <a:solidFill>
                  <a:srgbClr val="000000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10" name="Text Box 6"/>
            <p:cNvSpPr txBox="1">
              <a:spLocks noChangeArrowheads="1"/>
            </p:cNvSpPr>
            <p:nvPr/>
          </p:nvSpPr>
          <p:spPr bwMode="auto">
            <a:xfrm>
              <a:off x="1430" y="2205"/>
              <a:ext cx="4172" cy="17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fi-FI" sz="1200" dirty="0" smtClean="0">
                  <a:solidFill>
                    <a:srgbClr val="FFFFFF"/>
                  </a:solidFill>
                </a:rPr>
                <a:t>Approach</a:t>
              </a:r>
              <a:endParaRPr lang="en-GB" altLang="fi-FI" sz="1200" dirty="0">
                <a:solidFill>
                  <a:srgbClr val="FFFFFF"/>
                </a:solidFill>
              </a:endParaRPr>
            </a:p>
          </p:txBody>
        </p:sp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1481" y="2432"/>
              <a:ext cx="4146" cy="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171450" indent="-171450">
                <a:spcBef>
                  <a:spcPct val="35000"/>
                </a:spcBef>
                <a:buFont typeface="Arial" panose="020B0604020202020204" pitchFamily="34" charset="0"/>
                <a:buChar char="•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What was the common vision?</a:t>
              </a:r>
            </a:p>
            <a:p>
              <a:pPr marL="171450" indent="-171450">
                <a:spcBef>
                  <a:spcPct val="35000"/>
                </a:spcBef>
                <a:buFont typeface="Arial" panose="020B0604020202020204" pitchFamily="34" charset="0"/>
                <a:buChar char="•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What tools were used?</a:t>
              </a:r>
            </a:p>
            <a:p>
              <a:pPr marL="171450" indent="-171450">
                <a:spcBef>
                  <a:spcPct val="35000"/>
                </a:spcBef>
                <a:buFont typeface="Arial" panose="020B0604020202020204" pitchFamily="34" charset="0"/>
                <a:buChar char="•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How project was implemented?</a:t>
              </a:r>
            </a:p>
            <a:p>
              <a:pPr marL="171450" indent="-171450">
                <a:spcBef>
                  <a:spcPct val="35000"/>
                </a:spcBef>
                <a:buFont typeface="Arial" panose="020B0604020202020204" pitchFamily="34" charset="0"/>
                <a:buChar char="•"/>
              </a:pPr>
              <a:endParaRPr lang="en-GB" altLang="fi-FI" sz="1000" b="0" dirty="0">
                <a:solidFill>
                  <a:srgbClr val="021631"/>
                </a:solidFill>
              </a:endParaRPr>
            </a:p>
          </p:txBody>
        </p:sp>
        <p:sp>
          <p:nvSpPr>
            <p:cNvPr id="12" name="Text Box 8"/>
            <p:cNvSpPr txBox="1">
              <a:spLocks noChangeArrowheads="1"/>
            </p:cNvSpPr>
            <p:nvPr/>
          </p:nvSpPr>
          <p:spPr bwMode="auto">
            <a:xfrm>
              <a:off x="1427" y="3184"/>
              <a:ext cx="4173" cy="17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fi-FI" sz="1200" dirty="0" smtClean="0">
                  <a:solidFill>
                    <a:srgbClr val="FFFFFF"/>
                  </a:solidFill>
                </a:rPr>
                <a:t>Outcome &amp; Impact</a:t>
              </a:r>
              <a:endParaRPr lang="en-GB" altLang="fi-FI" sz="1200" dirty="0">
                <a:solidFill>
                  <a:srgbClr val="FFFFFF"/>
                </a:solidFill>
              </a:endParaRPr>
            </a:p>
          </p:txBody>
        </p:sp>
        <p:sp>
          <p:nvSpPr>
            <p:cNvPr id="13" name="Text Box 9"/>
            <p:cNvSpPr txBox="1">
              <a:spLocks noChangeArrowheads="1"/>
            </p:cNvSpPr>
            <p:nvPr/>
          </p:nvSpPr>
          <p:spPr bwMode="auto">
            <a:xfrm>
              <a:off x="1447" y="3370"/>
              <a:ext cx="4153" cy="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74625" indent="-174625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What was the final outcome of the partnership?</a:t>
              </a:r>
            </a:p>
            <a:p>
              <a:pPr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What were the measured outcomes (incl. numbers)? Number of beneficiaries?</a:t>
              </a:r>
            </a:p>
            <a:p>
              <a:pPr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What was the value for the different stakeholders (communities, companies, authorities)?</a:t>
              </a:r>
            </a:p>
            <a:p>
              <a:pPr>
                <a:spcBef>
                  <a:spcPct val="50000"/>
                </a:spcBef>
                <a:buFont typeface="Wingdings" panose="05000000000000000000" pitchFamily="2" charset="2"/>
                <a:buChar char="§"/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Lessons learned?</a:t>
              </a:r>
              <a:endParaRPr lang="en-GB" altLang="fi-FI" sz="1000" b="0" dirty="0">
                <a:solidFill>
                  <a:srgbClr val="021631"/>
                </a:solidFill>
              </a:endParaRPr>
            </a:p>
          </p:txBody>
        </p:sp>
        <p:sp>
          <p:nvSpPr>
            <p:cNvPr id="14" name="Line 10"/>
            <p:cNvSpPr>
              <a:spLocks noChangeShapeType="1"/>
            </p:cNvSpPr>
            <p:nvPr/>
          </p:nvSpPr>
          <p:spPr bwMode="auto">
            <a:xfrm>
              <a:off x="1292" y="1399"/>
              <a:ext cx="0" cy="2812"/>
            </a:xfrm>
            <a:prstGeom prst="line">
              <a:avLst/>
            </a:prstGeom>
            <a:noFill/>
            <a:ln w="28575">
              <a:solidFill>
                <a:schemeClr val="bg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>
                <a:solidFill>
                  <a:srgbClr val="021631"/>
                </a:solidFill>
              </a:endParaRPr>
            </a:p>
          </p:txBody>
        </p:sp>
        <p:sp>
          <p:nvSpPr>
            <p:cNvPr id="15" name="Text Box 11"/>
            <p:cNvSpPr txBox="1">
              <a:spLocks noChangeArrowheads="1"/>
            </p:cNvSpPr>
            <p:nvPr/>
          </p:nvSpPr>
          <p:spPr bwMode="auto">
            <a:xfrm>
              <a:off x="125" y="1071"/>
              <a:ext cx="5477" cy="19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fi-FI" sz="1400" dirty="0">
                  <a:solidFill>
                    <a:schemeClr val="bg1"/>
                  </a:solidFill>
                </a:rPr>
                <a:t>Facts &amp; Figures	   </a:t>
              </a:r>
              <a:r>
                <a:rPr lang="en-GB" altLang="fi-FI" sz="1400" dirty="0" smtClean="0">
                  <a:solidFill>
                    <a:schemeClr val="bg1"/>
                  </a:solidFill>
                </a:rPr>
                <a:t>	Description</a:t>
              </a:r>
              <a:endParaRPr lang="en-GB" altLang="fi-FI" sz="1400" dirty="0">
                <a:solidFill>
                  <a:schemeClr val="bg1"/>
                </a:solidFill>
              </a:endParaRPr>
            </a:p>
          </p:txBody>
        </p:sp>
        <p:sp>
          <p:nvSpPr>
            <p:cNvPr id="16" name="Text Box 12"/>
            <p:cNvSpPr txBox="1">
              <a:spLocks noChangeArrowheads="1"/>
            </p:cNvSpPr>
            <p:nvPr/>
          </p:nvSpPr>
          <p:spPr bwMode="auto">
            <a:xfrm>
              <a:off x="113" y="1389"/>
              <a:ext cx="1044" cy="2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20000"/>
                </a:spcBef>
                <a:spcAft>
                  <a:spcPct val="0"/>
                </a:spcAft>
                <a:buSzPct val="100000"/>
                <a:buFont typeface="Wingdings" panose="05000000000000000000" pitchFamily="2" charset="2"/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GB" altLang="fi-FI" sz="1000" dirty="0" smtClean="0">
                  <a:solidFill>
                    <a:srgbClr val="021631"/>
                  </a:solidFill>
                </a:rPr>
                <a:t>Timeline</a:t>
              </a:r>
              <a:r>
                <a:rPr lang="en-GB" altLang="fi-FI" sz="1000" b="0" dirty="0" smtClean="0">
                  <a:solidFill>
                    <a:srgbClr val="021631"/>
                  </a:solidFill>
                </a:rPr>
                <a:t>: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x</a:t>
              </a:r>
            </a:p>
            <a:p>
              <a:pPr>
                <a:spcBef>
                  <a:spcPct val="50000"/>
                </a:spcBef>
              </a:pPr>
              <a:endParaRPr lang="en-GB" altLang="fi-FI" sz="1000" b="0" dirty="0">
                <a:solidFill>
                  <a:srgbClr val="021631"/>
                </a:solidFill>
              </a:endParaRPr>
            </a:p>
            <a:p>
              <a:pPr>
                <a:spcBef>
                  <a:spcPct val="50000"/>
                </a:spcBef>
              </a:pPr>
              <a:r>
                <a:rPr lang="en-GB" altLang="fi-FI" sz="1000" dirty="0" smtClean="0">
                  <a:solidFill>
                    <a:srgbClr val="021631"/>
                  </a:solidFill>
                </a:rPr>
                <a:t>Budget</a:t>
              </a:r>
              <a:r>
                <a:rPr lang="en-GB" altLang="fi-FI" sz="1000" b="0" dirty="0" smtClean="0">
                  <a:solidFill>
                    <a:srgbClr val="021631"/>
                  </a:solidFill>
                </a:rPr>
                <a:t>:</a:t>
              </a:r>
              <a:endParaRPr lang="en-GB" altLang="fi-FI" sz="1000" b="0" dirty="0">
                <a:solidFill>
                  <a:srgbClr val="021631"/>
                </a:solidFill>
              </a:endParaRP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x</a:t>
              </a:r>
            </a:p>
            <a:p>
              <a:pPr>
                <a:spcBef>
                  <a:spcPct val="50000"/>
                </a:spcBef>
              </a:pPr>
              <a:endParaRPr lang="en-GB" altLang="fi-FI" sz="1000" b="0" dirty="0" smtClean="0">
                <a:solidFill>
                  <a:srgbClr val="021631"/>
                </a:solidFill>
              </a:endParaRPr>
            </a:p>
            <a:p>
              <a:pPr>
                <a:spcBef>
                  <a:spcPct val="50000"/>
                </a:spcBef>
              </a:pPr>
              <a:r>
                <a:rPr lang="en-GB" altLang="fi-FI" sz="1000" dirty="0" smtClean="0">
                  <a:solidFill>
                    <a:srgbClr val="021631"/>
                  </a:solidFill>
                </a:rPr>
                <a:t>Partners</a:t>
              </a:r>
              <a:r>
                <a:rPr lang="en-GB" altLang="fi-FI" sz="1000" b="0" dirty="0" smtClean="0">
                  <a:solidFill>
                    <a:srgbClr val="021631"/>
                  </a:solidFill>
                </a:rPr>
                <a:t>: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dirty="0" smtClean="0">
                  <a:solidFill>
                    <a:srgbClr val="021631"/>
                  </a:solidFill>
                </a:rPr>
                <a:t>Contacts</a:t>
              </a:r>
              <a:r>
                <a:rPr lang="en-GB" altLang="fi-FI" sz="1000" b="0" dirty="0" smtClean="0">
                  <a:solidFill>
                    <a:srgbClr val="021631"/>
                  </a:solidFill>
                </a:rPr>
                <a:t>: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  <a:p>
              <a:pPr>
                <a:spcBef>
                  <a:spcPct val="50000"/>
                </a:spcBef>
              </a:pPr>
              <a:r>
                <a:rPr lang="en-GB" altLang="fi-FI" sz="1000" b="0" dirty="0" smtClean="0">
                  <a:solidFill>
                    <a:srgbClr val="021631"/>
                  </a:solidFill>
                </a:rPr>
                <a:t>X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35907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Mukautettu 5">
      <a:dk1>
        <a:srgbClr val="021631"/>
      </a:dk1>
      <a:lt1>
        <a:srgbClr val="FFFFFF"/>
      </a:lt1>
      <a:dk2>
        <a:srgbClr val="141313"/>
      </a:dk2>
      <a:lt2>
        <a:srgbClr val="E9EAED"/>
      </a:lt2>
      <a:accent1>
        <a:srgbClr val="2260A8"/>
      </a:accent1>
      <a:accent2>
        <a:srgbClr val="444D54"/>
      </a:accent2>
      <a:accent3>
        <a:srgbClr val="E5671D"/>
      </a:accent3>
      <a:accent4>
        <a:srgbClr val="F4BE28"/>
      </a:accent4>
      <a:accent5>
        <a:srgbClr val="88B388"/>
      </a:accent5>
      <a:accent6>
        <a:srgbClr val="C90E46"/>
      </a:accent6>
      <a:hlink>
        <a:srgbClr val="172C4B"/>
      </a:hlink>
      <a:folHlink>
        <a:srgbClr val="676E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RAFT_IWaSP_ppt_template_updated_15122015</Template>
  <TotalTime>0</TotalTime>
  <Words>100</Words>
  <Application>Microsoft Office PowerPoint</Application>
  <PresentationFormat>Benutzerdefiniert</PresentationFormat>
  <Paragraphs>30</Paragraphs>
  <Slides>1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Office-teema</vt:lpstr>
      <vt:lpstr>think-cell Slide</vt:lpstr>
      <vt:lpstr>Partnership reference success story &lt;partnership name&gt;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ship reference success story &lt;parnership name&gt;</dc:title>
  <dc:creator>Korpela, Maria</dc:creator>
  <cp:lastModifiedBy>Aicha Seifelislam</cp:lastModifiedBy>
  <cp:revision>7</cp:revision>
  <dcterms:created xsi:type="dcterms:W3CDTF">2015-12-01T10:54:40Z</dcterms:created>
  <dcterms:modified xsi:type="dcterms:W3CDTF">2017-06-22T12:36:02Z</dcterms:modified>
</cp:coreProperties>
</file>